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presentation.xml" ContentType="application/vnd.openxmlformats-officedocument.presentationml.presentation.main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82" d="100"/>
          <a:sy n="82" d="100"/>
        </p:scale>
        <p:origin x="1699" y="7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12" Type="http://schemas.openxmlformats.org/officeDocument/2006/relationships/customXml" Target="../customXml/item3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openxmlformats.org/officeDocument/2006/relationships/customXml" Target="../customXml/item2.xml"/><Relationship Id="rId5" Type="http://schemas.openxmlformats.org/officeDocument/2006/relationships/tags" Target="tags/tag1.xml"/><Relationship Id="rId10" Type="http://schemas.openxmlformats.org/officeDocument/2006/relationships/customXml" Target="../customXml/item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2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2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xmlns:r="http://schemas.openxmlformats.org/officeDocument/2006/relationships" xmlns:p="http://schemas.openxmlformats.org/presentationml/2006/main" spid="_x0000_s37890" name="think-cell Folie" r:id="rId5" imgW="399" imgH="399" progId="TCLayout.ActiveDocument.1">
              <p:embed/>
            </p:oleObj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xmlns:r="http://schemas.openxmlformats.org/officeDocument/2006/relationships" xmlns:p="http://schemas.openxmlformats.org/presentationml/2006/main" spid="_x0000_s36866" name="think-cell Folie" r:id="rId6" imgW="399" imgH="399" progId="TCLayout.ActiveDocument.1">
              <p:embed/>
            </p:oleObj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jpe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eaLnBrk="1" fontAlgn="auto" latinLnBrk="0" hangingPunct="1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sz="1400" strike="noStrike" kern="1200" cap="none" spc="0" normalizeH="0" b="1" i="0" u="none" baseline="0" lang="zh-CN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价值和优点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eaLnBrk="0" fontAlgn="base" latinLnBrk="0" hangingPunct="0" rtl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zh-CN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eaLnBrk="1" fontAlgn="base" latinLnBrk="0" hangingPunct="1" rtl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sz="1400" strike="noStrike" kern="1200" cap="none" spc="0" normalizeH="0" b="1" i="0" u="none" baseline="0" lang="zh-CN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描述</a:t>
            </a:r>
            <a:endParaRPr kumimoji="0" lang="zh-CN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eaLnBrk="1" fontAlgn="base" latinLnBrk="0" hangingPunct="1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zh-CN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xmlns:r="http://schemas.openxmlformats.org/officeDocument/2006/relationships" xmlns:p="http://schemas.openxmlformats.org/presentationml/2006/main" spid="_x0000_s38914" name="think-cell Folie" r:id="rId4" imgW="360" imgH="360" progId="TCLayout.ActiveDocument.1">
              <p:embed/>
            </p:oleObj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pPr algn="l" rtl="0"/>
            <a:r>
              <a:rPr b="1" i="0" u="none" baseline="0" lang="zh-CN"/>
              <a:t>预计出现备件短缺</a:t>
            </a:r>
            <a:endParaRPr lang="zh-CN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pPr algn="l" rtl="0"/>
            <a:r>
              <a:rPr b="0" i="0" u="none" baseline="0" lang="zh-CN"/>
              <a:t>ELAU LMC300 PACDRIVE 3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eaLnBrk="1" fontAlgn="auto" latinLnBrk="0" hangingPunct="1" rtl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strike="noStrike" kern="0" cap="none" spc="0" normalizeH="0" b="0" i="0" u="none" baseline="0" lang="zh-CN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价值：更新换代</a:t>
            </a:r>
          </a:p>
          <a:p>
            <a:pPr marL="0" marR="0" lvl="0" indent="0" algn="l" defTabSz="914400" eaLnBrk="1" fontAlgn="auto" latinLnBrk="0" hangingPunct="1" rtl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strike="noStrike" kern="0" cap="none" spc="0" normalizeH="0" b="0" i="0" u="none" baseline="0" lang="zh-CN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设备：Rollquattro</a:t>
            </a:r>
            <a:endParaRPr kumimoji="0" lang="zh-CN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  <a:p>
            <a:pPr marL="0" marR="0" lvl="0" indent="0" algn="l" defTabSz="914400" eaLnBrk="1" fontAlgn="auto" latinLnBrk="0" hangingPunct="1" rtl="0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800" strike="noStrike" kern="0" cap="none" spc="0" normalizeH="0" b="0" i="0" u="none" baseline="0" lang="zh-CN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产品目录代码：OCL001</a:t>
            </a:r>
            <a:endParaRPr kumimoji="0" lang="zh-CN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eaLnBrk="1" fontAlgn="base" latinLnBrk="0" hangingPunct="1" rtl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zh-CN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7238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 algn="l" rtl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sz="1200" b="1" i="0" u="none" baseline="0" lang="zh-CN">
                <a:solidFill>
                  <a:srgbClr val="E64B00"/>
                </a:solidFill>
              </a:rPr>
              <a:t>采用市面上的新款组件打造更加安全的解决方案</a:t>
            </a:r>
          </a:p>
          <a:p>
            <a:pPr marL="136922" indent="-136922" algn="l" rtl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sz="1200" b="1" i="0" u="none" baseline="0" lang="zh-CN">
                <a:solidFill>
                  <a:srgbClr val="E64B00"/>
                </a:solidFill>
              </a:rPr>
              <a:t>出现故障时可防止长时间停机</a:t>
            </a:r>
          </a:p>
          <a:p>
            <a:pPr marL="479822" lvl="1" indent="-136922" algn="l" rtl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sz="1200" b="0" i="0" u="none" baseline="0" lang="zh-CN">
                <a:solidFill>
                  <a:srgbClr val="000000"/>
                </a:solidFill>
              </a:rPr>
              <a:t>制造商已停止生产几款贴标机产品上安装的ELAU MAX-4/C 600/C 400和MC-4。</a:t>
            </a:r>
          </a:p>
          <a:p>
            <a:pPr marL="479822" lvl="1" indent="-136922" algn="l" rtl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sz="1200" b="0" i="0" u="none" baseline="0" lang="zh-CN">
                <a:solidFill>
                  <a:srgbClr val="000000"/>
                </a:solidFill>
              </a:rPr>
              <a:t>相应备件存在即将无法供货的风险。</a:t>
            </a:r>
          </a:p>
          <a:p>
            <a:pPr marL="479822" lvl="1" indent="-136922" algn="l" rtl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sz="1200" b="0" i="0" u="none" baseline="0" lang="zh-CN">
                <a:solidFill>
                  <a:srgbClr val="000000"/>
                </a:solidFill>
              </a:rPr>
              <a:t>装瓶商工厂的设备存在长时间停机的风险。</a:t>
            </a:r>
          </a:p>
          <a:p>
            <a:pPr marL="136922" indent="-136922" algn="l" rtl="0">
              <a:spcBef>
                <a:spcPct val="45000"/>
              </a:spcBef>
              <a:buClr>
                <a:srgbClr val="E64B00"/>
              </a:buClr>
              <a:buFont typeface="Wingdings" charset="2"/>
              <a:buChar char="§"/>
              <a:defRPr/>
            </a:pPr>
            <a:r>
              <a:rPr sz="1200" b="1" i="0" u="none" baseline="0" lang="zh-CN">
                <a:solidFill>
                  <a:srgbClr val="E64B00"/>
                </a:solidFill>
              </a:rPr>
              <a:t>增添以太网IP控制功能：</a:t>
            </a:r>
            <a:r>
              <a:rPr sz="1200" b="0" i="0" u="none" baseline="0" lang="zh-CN">
                <a:solidFill>
                  <a:srgbClr val="000000"/>
                </a:solidFill>
              </a:rPr>
              <a:t>变频器新增以太网IP控制功能（美国市场版本采用Devicenet总线）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436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 algn="l" rtl="0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sz="1200" b="0" i="0" u="none" baseline="0" lang="zh-CN">
                <a:solidFill>
                  <a:srgbClr val="000000"/>
                </a:solidFill>
              </a:rPr>
              <a:t>配备</a:t>
            </a:r>
            <a:r>
              <a:rPr sz="1200" b="0" i="0" u="none" baseline="0" lang="zh-CN"/>
              <a:t>LMC300 PACDRIVE 3 </a:t>
            </a:r>
            <a:r>
              <a:rPr sz="1200" b="0" i="0" u="none" baseline="0" lang="zh-CN">
                <a:solidFill>
                  <a:srgbClr val="000000"/>
                </a:solidFill>
              </a:rPr>
              <a:t>的新系统：</a:t>
            </a:r>
          </a:p>
          <a:p>
            <a:pPr marL="479822" lvl="2" indent="-136922" algn="l" rtl="0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sz="1200" b="0" i="0" u="none" baseline="0" lang="zh-CN">
                <a:solidFill>
                  <a:srgbClr val="000000"/>
                </a:solidFill>
              </a:rPr>
              <a:t>新系统包含</a:t>
            </a:r>
            <a:r>
              <a:rPr sz="1200" b="0" i="0" u="none" baseline="0" lang="zh-CN"/>
              <a:t>LMC300 PACDRIVE 3</a:t>
            </a:r>
            <a:r>
              <a:rPr sz="1200" b="0" i="0" u="none" baseline="0" lang="zh-CN">
                <a:solidFill>
                  <a:srgbClr val="000000"/>
                </a:solidFill>
              </a:rPr>
              <a:t>控制器，配备LXM62伺服驱动器。</a:t>
            </a:r>
          </a:p>
          <a:p>
            <a:pPr marL="479822" lvl="2" indent="-136922" algn="l" rtl="0">
              <a:spcBef>
                <a:spcPts val="225"/>
              </a:spcBef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sz="1200" b="0" i="0" u="none" baseline="0" lang="zh-CN">
                <a:solidFill>
                  <a:srgbClr val="000000"/>
                </a:solidFill>
              </a:rPr>
              <a:t>仅与Elau SH电机适配，O&amp;U中也会包括该型号电机以免客户需要（替代过时的SM型号）</a:t>
            </a:r>
          </a:p>
        </p:txBody>
      </p:sp>
      <p:pic>
        <p:nvPicPr>
          <p:cNvPr id="17" name="Immagine 16" descr="Immagine che contiene computer&#10;&#10;Descrizione generata automaticamente">
            <a:extLst>
              <a:ext uri="{FF2B5EF4-FFF2-40B4-BE49-F238E27FC236}">
                <a16:creationId xmlns:a16="http://schemas.microsoft.com/office/drawing/2014/main" id="{C71DD28B-7F8E-4DF3-9D39-675053A8A9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0283" y="4144566"/>
            <a:ext cx="1407319" cy="1407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Immagine 17">
            <a:extLst>
              <a:ext uri="{FF2B5EF4-FFF2-40B4-BE49-F238E27FC236}">
                <a16:creationId xmlns:a16="http://schemas.microsoft.com/office/drawing/2014/main" id="{A741A42B-B3D9-4023-933F-1E395DB6CE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3757" y="4044553"/>
            <a:ext cx="1607344" cy="16073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8C1934A45FF5D4B8D5F4B18333E543F" ma:contentTypeVersion="10" ma:contentTypeDescription="Crée un document." ma:contentTypeScope="" ma:versionID="c6fbba80f5b5790d9660e81b4bb1c2cf">
  <xsd:schema xmlns:xsd="http://www.w3.org/2001/XMLSchema" xmlns:xs="http://www.w3.org/2001/XMLSchema" xmlns:p="http://schemas.microsoft.com/office/2006/metadata/properties" xmlns:ns2="0911191c-8472-4eb5-a739-69bdbf5e668c" targetNamespace="http://schemas.microsoft.com/office/2006/metadata/properties" ma:root="true" ma:fieldsID="1b32f2aa824e076c1c942a171e6602e7" ns2:_="">
    <xsd:import namespace="0911191c-8472-4eb5-a739-69bdbf5e668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911191c-8472-4eb5-a739-69bdbf5e66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ype de contenu"/>
        <xsd:element ref="dc:title" minOccurs="0" maxOccurs="1" ma:index="4" ma:displayName="Titr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86737A4-D2B7-47F5-A3EA-F8F90D55DB74}"/>
</file>

<file path=customXml/itemProps2.xml><?xml version="1.0" encoding="utf-8"?>
<ds:datastoreItem xmlns:ds="http://schemas.openxmlformats.org/officeDocument/2006/customXml" ds:itemID="{EFD82575-C563-419B-9555-2FA4621BB4B2}"/>
</file>

<file path=customXml/itemProps3.xml><?xml version="1.0" encoding="utf-8"?>
<ds:datastoreItem xmlns:ds="http://schemas.openxmlformats.org/officeDocument/2006/customXml" ds:itemID="{CF182B5B-AC98-44C4-86CA-AE5620658A90}"/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61</TotalTime>
  <Words>148</Words>
  <Application>Microsoft Office PowerPoint</Application>
  <PresentationFormat>On-screen Show (4:3)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1</cp:revision>
  <dcterms:created xsi:type="dcterms:W3CDTF">2019-02-20T10:39:16Z</dcterms:created>
  <dcterms:modified xsi:type="dcterms:W3CDTF">2020-03-12T13:07:3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  <property fmtid="{D5CDD505-2E9C-101B-9397-08002B2CF9AE}" pid="13" name="ContentTypeId">
    <vt:lpwstr>0x01010048C1934A45FF5D4B8D5F4B18333E543F</vt:lpwstr>
  </property>
</Properties>
</file>